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1"/>
  </p:notesMasterIdLst>
  <p:sldIdLst>
    <p:sldId id="256" r:id="rId2"/>
    <p:sldId id="4298" r:id="rId3"/>
    <p:sldId id="4474" r:id="rId4"/>
    <p:sldId id="4475" r:id="rId5"/>
    <p:sldId id="4165" r:id="rId6"/>
    <p:sldId id="1105" r:id="rId7"/>
    <p:sldId id="3784" r:id="rId8"/>
    <p:sldId id="4339" r:id="rId9"/>
    <p:sldId id="4378" r:id="rId10"/>
    <p:sldId id="4032" r:id="rId11"/>
    <p:sldId id="3320" r:id="rId12"/>
    <p:sldId id="1854" r:id="rId13"/>
    <p:sldId id="3909" r:id="rId14"/>
    <p:sldId id="1318" r:id="rId15"/>
    <p:sldId id="3422" r:id="rId16"/>
    <p:sldId id="4495" r:id="rId17"/>
    <p:sldId id="3423" r:id="rId18"/>
    <p:sldId id="3643" r:id="rId19"/>
    <p:sldId id="4452" r:id="rId20"/>
    <p:sldId id="4453" r:id="rId21"/>
    <p:sldId id="3749" r:id="rId22"/>
    <p:sldId id="3920" r:id="rId23"/>
    <p:sldId id="3709" r:id="rId24"/>
    <p:sldId id="2888" r:id="rId25"/>
    <p:sldId id="2889" r:id="rId26"/>
    <p:sldId id="4458" r:id="rId27"/>
    <p:sldId id="3696" r:id="rId28"/>
    <p:sldId id="2884" r:id="rId29"/>
    <p:sldId id="4121" r:id="rId30"/>
    <p:sldId id="4122" r:id="rId31"/>
    <p:sldId id="3267" r:id="rId32"/>
    <p:sldId id="4434" r:id="rId33"/>
    <p:sldId id="4469" r:id="rId34"/>
    <p:sldId id="4470" r:id="rId35"/>
    <p:sldId id="4459" r:id="rId36"/>
    <p:sldId id="3592" r:id="rId37"/>
    <p:sldId id="2894" r:id="rId38"/>
    <p:sldId id="3693" r:id="rId39"/>
    <p:sldId id="3864" r:id="rId40"/>
  </p:sldIdLst>
  <p:sldSz cx="12192000" cy="6858000"/>
  <p:notesSz cx="6858000" cy="9144000"/>
  <p:custDataLst>
    <p:tags r:id="rId42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2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FF00"/>
    <a:srgbClr val="00CD61"/>
    <a:srgbClr val="D31145"/>
    <a:srgbClr val="6A491C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7CE84F3-28C3-443E-9E96-99CF82512B78}" styleName="Tmavý styl 1 – zvýraznění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96" autoAdjust="0"/>
    <p:restoredTop sz="96416" autoAdjust="0"/>
  </p:normalViewPr>
  <p:slideViewPr>
    <p:cSldViewPr snapToGrid="0">
      <p:cViewPr varScale="1">
        <p:scale>
          <a:sx n="114" d="100"/>
          <a:sy n="114" d="100"/>
        </p:scale>
        <p:origin x="504" y="8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31.05.2021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995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metodou RT-PCR za poslední měsíc. Modrá křivka ukazuje vývoj pozitivity (poměr pozitivních případů a počtu testů).</a:t>
            </a:r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815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metodou RT-PCR za poslední měsíc. Modrá křivka ukazuje vývoj pozitivity (poměr pozitivních případů a počtu testů).</a:t>
            </a:r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815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antigenními testy za poslední měsíc. Modrá křivka ukazuje vývoj pozitivity (poměr pozitivních případů a počtu testů).</a:t>
            </a:r>
            <a:endParaRPr lang="cs-CZ" b="1" dirty="0"/>
          </a:p>
          <a:p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982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5765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78E77A-2561-4555-875B-95468CAC112D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0920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5462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182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88B192-724F-7843-8473-7FB8726C7F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81251"/>
            <a:ext cx="9144000" cy="1515054"/>
          </a:xfrm>
        </p:spPr>
        <p:txBody>
          <a:bodyPr/>
          <a:lstStyle/>
          <a:p>
            <a:r>
              <a:rPr lang="cs-CZ" dirty="0">
                <a:solidFill>
                  <a:srgbClr val="C00000"/>
                </a:solidFill>
              </a:rPr>
              <a:t>Analytický briefing EPI situac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DD479B6-0ED4-884F-800F-23D2FCE02B6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b="1" i="1" dirty="0">
                <a:solidFill>
                  <a:srgbClr val="C00000"/>
                </a:solidFill>
              </a:rPr>
              <a:t>31</a:t>
            </a:r>
            <a:r>
              <a:rPr lang="en-US" b="1" i="1" dirty="0">
                <a:solidFill>
                  <a:srgbClr val="C00000"/>
                </a:solidFill>
              </a:rPr>
              <a:t>. </a:t>
            </a:r>
            <a:r>
              <a:rPr lang="cs-CZ" b="1" i="1" dirty="0">
                <a:solidFill>
                  <a:srgbClr val="C00000"/>
                </a:solidFill>
              </a:rPr>
              <a:t>května 2021</a:t>
            </a:r>
          </a:p>
          <a:p>
            <a:r>
              <a:rPr lang="cs-CZ" b="1" i="1" dirty="0">
                <a:solidFill>
                  <a:srgbClr val="C00000"/>
                </a:solidFill>
              </a:rPr>
              <a:t>16:30 hod</a:t>
            </a:r>
          </a:p>
        </p:txBody>
      </p:sp>
    </p:spTree>
    <p:extLst>
      <p:ext uri="{BB962C8B-B14F-4D97-AF65-F5344CB8AC3E}">
        <p14:creationId xmlns:p14="http://schemas.microsoft.com/office/powerpoint/2010/main" val="2082579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BF2F8CB-8025-4F0A-88D8-AF77F1204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rovnání počtů případů v jednotlivých dnech týdne za poslední 3 týdny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0DD0F595-BC44-4071-8410-1A0A87CE9DC1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199E5AC-2925-429A-8EEC-5E37122CEB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2492" y="1058490"/>
            <a:ext cx="8815580" cy="527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8239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DB4E81A-AE57-42F2-913E-5FBF6E24C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357" y="1"/>
            <a:ext cx="9537700" cy="896492"/>
          </a:xfrm>
        </p:spPr>
        <p:txBody>
          <a:bodyPr/>
          <a:lstStyle/>
          <a:p>
            <a:r>
              <a:rPr lang="cs-CZ" dirty="0"/>
              <a:t>VÝVOJ 7DENNÍHO KLOUZAVÉHO PRŮMĚRU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1B2F323-7665-489B-8B83-5EA9D0254332}"/>
              </a:ext>
            </a:extLst>
          </p:cNvPr>
          <p:cNvSpPr/>
          <p:nvPr/>
        </p:nvSpPr>
        <p:spPr>
          <a:xfrm>
            <a:off x="332819" y="6482435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F02DDF59-74DA-472B-B0A7-F3EC7F99B80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57" y="1008176"/>
            <a:ext cx="9685020" cy="53625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249555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A7CFB2D5-DFD1-4382-9CC6-4D6B14FF685F}"/>
              </a:ext>
            </a:extLst>
          </p:cNvPr>
          <p:cNvSpPr/>
          <p:nvPr/>
        </p:nvSpPr>
        <p:spPr>
          <a:xfrm>
            <a:off x="351569" y="107620"/>
            <a:ext cx="97449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>
                <a:solidFill>
                  <a:srgbClr val="C00000"/>
                </a:solidFill>
              </a:rPr>
              <a:t>Přehled situace v jednotlivých krajích - celkem</a:t>
            </a:r>
          </a:p>
          <a:p>
            <a:r>
              <a:rPr lang="cs-CZ" sz="2400" b="1" dirty="0">
                <a:solidFill>
                  <a:srgbClr val="C00000"/>
                </a:solidFill>
              </a:rPr>
              <a:t>(incidence za 7 dní</a:t>
            </a:r>
            <a:r>
              <a:rPr lang="en-US" sz="2400" b="1" dirty="0">
                <a:solidFill>
                  <a:srgbClr val="C00000"/>
                </a:solidFill>
              </a:rPr>
              <a:t> </a:t>
            </a:r>
            <a:r>
              <a:rPr lang="en-US" sz="2400" b="1" dirty="0" err="1">
                <a:solidFill>
                  <a:srgbClr val="C00000"/>
                </a:solidFill>
              </a:rPr>
              <a:t>na</a:t>
            </a:r>
            <a:r>
              <a:rPr lang="cs-CZ" sz="2400" b="1" dirty="0">
                <a:solidFill>
                  <a:srgbClr val="C00000"/>
                </a:solidFill>
              </a:rPr>
              <a:t> 100 tisíc obyvatel)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1EDB6165-1B3E-4BFE-A643-1E86ED982DB1}"/>
              </a:ext>
            </a:extLst>
          </p:cNvPr>
          <p:cNvSpPr/>
          <p:nvPr/>
        </p:nvSpPr>
        <p:spPr>
          <a:xfrm>
            <a:off x="272250" y="647338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384737A-7207-423E-BAE3-58FE5EA550E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933" y="998359"/>
            <a:ext cx="8273415" cy="54152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814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92F6E1-92F7-4836-AF55-788839093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/>
              <a:t>Týdenní změny (nárůst/pokles)</a:t>
            </a:r>
            <a:br>
              <a:rPr lang="cs-CZ" dirty="0"/>
            </a:br>
            <a:endParaRPr lang="cs-CZ" sz="2000" dirty="0"/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41F1E305-0453-44B4-AE56-A6AEAA188C1E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A7D2B79-9161-4FDC-AA4E-D1662B02F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1336" y="1409623"/>
            <a:ext cx="2322783" cy="4183211"/>
          </a:xfrm>
          <a:prstGeom prst="rect">
            <a:avLst/>
          </a:prstGeom>
        </p:spPr>
      </p:pic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39E3A4C-C58B-4F5A-BAF0-E496EDB0BB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372639"/>
              </p:ext>
            </p:extLst>
          </p:nvPr>
        </p:nvGraphicFramePr>
        <p:xfrm>
          <a:off x="8881628" y="1681545"/>
          <a:ext cx="3131820" cy="4670639"/>
        </p:xfrm>
        <a:graphic>
          <a:graphicData uri="http://schemas.openxmlformats.org/drawingml/2006/table">
            <a:tbl>
              <a:tblPr firstRow="1" firstCol="1" bandRow="1"/>
              <a:tblGrid>
                <a:gridCol w="1382395">
                  <a:extLst>
                    <a:ext uri="{9D8B030D-6E8A-4147-A177-3AD203B41FA5}">
                      <a16:colId xmlns:a16="http://schemas.microsoft.com/office/drawing/2014/main" val="1247107995"/>
                    </a:ext>
                  </a:extLst>
                </a:gridCol>
                <a:gridCol w="848995">
                  <a:extLst>
                    <a:ext uri="{9D8B030D-6E8A-4147-A177-3AD203B41FA5}">
                      <a16:colId xmlns:a16="http://schemas.microsoft.com/office/drawing/2014/main" val="3115197169"/>
                    </a:ext>
                  </a:extLst>
                </a:gridCol>
                <a:gridCol w="900430">
                  <a:extLst>
                    <a:ext uri="{9D8B030D-6E8A-4147-A177-3AD203B41FA5}">
                      <a16:colId xmlns:a16="http://schemas.microsoft.com/office/drawing/2014/main" val="4038200007"/>
                    </a:ext>
                  </a:extLst>
                </a:gridCol>
              </a:tblGrid>
              <a:tr h="615388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ázev kraj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 případů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a 7 d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 případů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 14 d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81985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578224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585102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9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85941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924645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16132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069133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07427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89691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670537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48833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585550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469940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176254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47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573223"/>
                  </a:ext>
                </a:extLst>
              </a:tr>
              <a:tr h="185763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 b="1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 258</a:t>
                      </a:r>
                      <a:endParaRPr lang="en-US" sz="1100" b="1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 277</a:t>
                      </a: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05790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792F0C2-D17B-4E0D-88CF-6D84DE298614}"/>
              </a:ext>
            </a:extLst>
          </p:cNvPr>
          <p:cNvSpPr txBox="1"/>
          <p:nvPr/>
        </p:nvSpPr>
        <p:spPr>
          <a:xfrm>
            <a:off x="106316" y="6105964"/>
            <a:ext cx="8971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% nárůst/pokles srovnání počtu případů za prvních 7 dní s případy hlášenými za posledních 7 dní ve 14denním hodnocení tj. (1 až 7 den vs. 8 až 14 den)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1FD0B16-52D9-432A-B78F-79505F4B61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16" y="1335597"/>
            <a:ext cx="6957816" cy="462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918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9CFA6ED-00B5-4632-8C9C-373CF917C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231" y="1"/>
            <a:ext cx="9479826" cy="896492"/>
          </a:xfrm>
        </p:spPr>
        <p:txBody>
          <a:bodyPr/>
          <a:lstStyle/>
          <a:p>
            <a:r>
              <a:rPr lang="cs-CZ" dirty="0"/>
              <a:t>Přehled situace v jednotlivých okresech (incidence za 7 dní)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79897D2-953A-41F6-9196-FB9F26C141AB}"/>
              </a:ext>
            </a:extLst>
          </p:cNvPr>
          <p:cNvSpPr/>
          <p:nvPr/>
        </p:nvSpPr>
        <p:spPr>
          <a:xfrm>
            <a:off x="246850" y="649090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B258729-855E-4797-A8D2-6A46B4269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2877" y="1061235"/>
            <a:ext cx="8370533" cy="542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111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</a:t>
            </a: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SIN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ZIS ČR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96" y="0"/>
            <a:ext cx="9309399" cy="896492"/>
          </a:xfrm>
        </p:spPr>
        <p:txBody>
          <a:bodyPr/>
          <a:lstStyle/>
          <a:p>
            <a:r>
              <a:rPr lang="cs-CZ" dirty="0"/>
              <a:t>Počet testů PCR a pozitivních případů za posledních 30 d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2146F2E-B4CE-47EA-82D1-472C426A0B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928" y="1015814"/>
            <a:ext cx="9163082" cy="536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9600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</a:t>
            </a: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ISIN,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ÚZIS ČR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96" y="0"/>
            <a:ext cx="9309399" cy="896492"/>
          </a:xfrm>
        </p:spPr>
        <p:txBody>
          <a:bodyPr/>
          <a:lstStyle/>
          <a:p>
            <a:r>
              <a:rPr lang="cs-CZ" dirty="0"/>
              <a:t>Počet testů PCR a pozitivních případů za posledních 30 dní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7FB4A928-E3B6-4E33-A748-6AA4D85193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524" y="1075164"/>
            <a:ext cx="9309400" cy="528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777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09" y="8389"/>
            <a:ext cx="9461724" cy="896492"/>
          </a:xfrm>
        </p:spPr>
        <p:txBody>
          <a:bodyPr/>
          <a:lstStyle/>
          <a:p>
            <a:r>
              <a:rPr lang="cs-CZ" dirty="0"/>
              <a:t>Počet </a:t>
            </a:r>
            <a:r>
              <a:rPr lang="cs-CZ" dirty="0" err="1"/>
              <a:t>Ag</a:t>
            </a:r>
            <a:r>
              <a:rPr lang="cs-CZ" dirty="0"/>
              <a:t> testů a pozitivních případů za posledních 30 d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521350C-959E-4470-A9C1-BEE57FD2C2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4259" y="1066480"/>
            <a:ext cx="9175665" cy="5272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427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CF50F5-5B72-4E09-AE69-961176155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počtu celkově hospitalizovaných/JIP v čase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E99F44A-39AE-4EAC-809A-A3A110ED1DA0}"/>
              </a:ext>
            </a:extLst>
          </p:cNvPr>
          <p:cNvSpPr/>
          <p:nvPr/>
        </p:nvSpPr>
        <p:spPr>
          <a:xfrm>
            <a:off x="332819" y="654559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BDD92F5-36E9-4163-9400-013E1C5B7D52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889" y="1044646"/>
            <a:ext cx="9362168" cy="53527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560454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- souhrn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1B5742DC-28AF-42D6-A3A2-C4184BE25A9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F1DA76A-5241-42A6-8D50-C541F6300F23}"/>
              </a:ext>
            </a:extLst>
          </p:cNvPr>
          <p:cNvSpPr/>
          <p:nvPr/>
        </p:nvSpPr>
        <p:spPr>
          <a:xfrm>
            <a:off x="332819" y="1101711"/>
            <a:ext cx="8811181" cy="5193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ový souhrn situace v ČR 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em hospitalizovaných bylo včera 491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ospitalizovaní tvoří 4,4 % z celkem pozitivních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ěžký průběh onemocnění a na JIP je hlášeno u 114 osob, 45x UPV, 4x ECMO. 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 osob v těžkém stavu z celkového počtu hospitalizovaných je 18,9 %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ově přijatí pacienti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elkem 15 nově přijatých pacientů. Průměrný věk nově přijatých pacientů činí 58 let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ěžký stav je hlášen u 1 nově přijatých pacientů, stav střední je hlášen 6x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ejvíce příjmů bylo v následujících krajích: HMP (3), JHC (2), MSK (2)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ově propuštění pacienti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 30.05.2021: celkem 12 propuštěných pacientů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 29.05.2021: celkem 19 propuštěných pacientů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 28.05.2021: celkem 97 propuštěných pacientů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átěž dle krajů a nemocnic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ejvíce pacientů je v následujících krajích (z toho na JIP): MSK 88 (18), ZLK 85 (13), JMK 81 (23)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 potřebuje nejvíce pacientů v JMK 81 (9), ZLK 85 (8), ULK 34 (6)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800"/>
              </a:spcAft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Z s více jak 30 pacienty: Krajská nemocnice T. Bati, a. s. (34).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07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F21C8F-CE40-437E-8258-050812426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119" y="62835"/>
            <a:ext cx="9885238" cy="896492"/>
          </a:xfrm>
        </p:spPr>
        <p:txBody>
          <a:bodyPr/>
          <a:lstStyle/>
          <a:p>
            <a:pPr algn="ctr"/>
            <a:r>
              <a:rPr lang="cs-CZ" dirty="0"/>
              <a:t>Aktuální situace v ČR k 30. 5. 2021 (23:59)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88A6D04-F63F-446D-922D-BF72C0428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ovéPole 1">
            <a:extLst>
              <a:ext uri="{FF2B5EF4-FFF2-40B4-BE49-F238E27FC236}">
                <a16:creationId xmlns:a16="http://schemas.microsoft.com/office/drawing/2014/main" id="{5749DF99-19D3-4B65-943E-9A927A104DA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13791069-71BE-42ED-B637-3A44F62AEA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3116443"/>
              </p:ext>
            </p:extLst>
          </p:nvPr>
        </p:nvGraphicFramePr>
        <p:xfrm>
          <a:off x="320117" y="959327"/>
          <a:ext cx="9885237" cy="2637453"/>
        </p:xfrm>
        <a:graphic>
          <a:graphicData uri="http://schemas.openxmlformats.org/drawingml/2006/table">
            <a:tbl>
              <a:tblPr firstRow="1" firstCol="1" bandRow="1"/>
              <a:tblGrid>
                <a:gridCol w="1476229">
                  <a:extLst>
                    <a:ext uri="{9D8B030D-6E8A-4147-A177-3AD203B41FA5}">
                      <a16:colId xmlns:a16="http://schemas.microsoft.com/office/drawing/2014/main" val="3835636276"/>
                    </a:ext>
                  </a:extLst>
                </a:gridCol>
                <a:gridCol w="1825093">
                  <a:extLst>
                    <a:ext uri="{9D8B030D-6E8A-4147-A177-3AD203B41FA5}">
                      <a16:colId xmlns:a16="http://schemas.microsoft.com/office/drawing/2014/main" val="3203787402"/>
                    </a:ext>
                  </a:extLst>
                </a:gridCol>
                <a:gridCol w="1427079">
                  <a:extLst>
                    <a:ext uri="{9D8B030D-6E8A-4147-A177-3AD203B41FA5}">
                      <a16:colId xmlns:a16="http://schemas.microsoft.com/office/drawing/2014/main" val="3373072048"/>
                    </a:ext>
                  </a:extLst>
                </a:gridCol>
                <a:gridCol w="283336">
                  <a:extLst>
                    <a:ext uri="{9D8B030D-6E8A-4147-A177-3AD203B41FA5}">
                      <a16:colId xmlns:a16="http://schemas.microsoft.com/office/drawing/2014/main" val="2023601146"/>
                    </a:ext>
                  </a:extLst>
                </a:gridCol>
                <a:gridCol w="1698120">
                  <a:extLst>
                    <a:ext uri="{9D8B030D-6E8A-4147-A177-3AD203B41FA5}">
                      <a16:colId xmlns:a16="http://schemas.microsoft.com/office/drawing/2014/main" val="728704555"/>
                    </a:ext>
                  </a:extLst>
                </a:gridCol>
                <a:gridCol w="671120">
                  <a:extLst>
                    <a:ext uri="{9D8B030D-6E8A-4147-A177-3AD203B41FA5}">
                      <a16:colId xmlns:a16="http://schemas.microsoft.com/office/drawing/2014/main" val="95843641"/>
                    </a:ext>
                  </a:extLst>
                </a:gridCol>
                <a:gridCol w="326792">
                  <a:extLst>
                    <a:ext uri="{9D8B030D-6E8A-4147-A177-3AD203B41FA5}">
                      <a16:colId xmlns:a16="http://schemas.microsoft.com/office/drawing/2014/main" val="1387575317"/>
                    </a:ext>
                  </a:extLst>
                </a:gridCol>
                <a:gridCol w="537274">
                  <a:extLst>
                    <a:ext uri="{9D8B030D-6E8A-4147-A177-3AD203B41FA5}">
                      <a16:colId xmlns:a16="http://schemas.microsoft.com/office/drawing/2014/main" val="2972024785"/>
                    </a:ext>
                  </a:extLst>
                </a:gridCol>
                <a:gridCol w="1640194">
                  <a:extLst>
                    <a:ext uri="{9D8B030D-6E8A-4147-A177-3AD203B41FA5}">
                      <a16:colId xmlns:a16="http://schemas.microsoft.com/office/drawing/2014/main" val="3803748629"/>
                    </a:ext>
                  </a:extLst>
                </a:gridCol>
              </a:tblGrid>
              <a:tr h="352028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11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897551942"/>
                  </a:ext>
                </a:extLst>
              </a:tr>
              <a:tr h="150759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tegori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řípadů za předchozí den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nní průměr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9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růměr 7 dnů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50028881"/>
                  </a:ext>
                </a:extLst>
              </a:tr>
              <a:tr h="18873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9.8 [-0.8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.0 [-0.3]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59293966"/>
                  </a:ext>
                </a:extLst>
              </a:tr>
              <a:tr h="17583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13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56 [-12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okresů – 7denní incidence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26720381"/>
                  </a:ext>
                </a:extLst>
              </a:tr>
              <a:tr h="25699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2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9 [-1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–25 případů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25–50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50 případů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194492"/>
                  </a:ext>
                </a:extLst>
              </a:tr>
              <a:tr h="175835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8327090"/>
                  </a:ext>
                </a:extLst>
              </a:tr>
              <a:tr h="352028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ový souhrn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/ nejnižší vs. nejvyšší hodno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5248530"/>
                  </a:ext>
                </a:extLst>
              </a:tr>
              <a:tr h="2043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– celkem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61 27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kraj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78021460"/>
                  </a:ext>
                </a:extLst>
              </a:tr>
              <a:tr h="2043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(65+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 43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lovarský kraj [6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línský kraj</a:t>
                      </a: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[49]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151936"/>
                  </a:ext>
                </a:extLst>
              </a:tr>
              <a:tr h="2043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yléče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20 09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okres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3741245"/>
                  </a:ext>
                </a:extLst>
              </a:tr>
              <a:tr h="20436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úmrt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 10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heb [1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Český Krumlov [88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84292648"/>
                  </a:ext>
                </a:extLst>
              </a:tr>
            </a:tbl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36BD2421-0048-4D7D-8A62-467194E5F0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123925"/>
              </p:ext>
            </p:extLst>
          </p:nvPr>
        </p:nvGraphicFramePr>
        <p:xfrm>
          <a:off x="320116" y="3710020"/>
          <a:ext cx="9885237" cy="2243973"/>
        </p:xfrm>
        <a:graphic>
          <a:graphicData uri="http://schemas.openxmlformats.org/drawingml/2006/table">
            <a:tbl>
              <a:tblPr firstRow="1" firstCol="1" bandRow="1"/>
              <a:tblGrid>
                <a:gridCol w="2414415">
                  <a:extLst>
                    <a:ext uri="{9D8B030D-6E8A-4147-A177-3AD203B41FA5}">
                      <a16:colId xmlns:a16="http://schemas.microsoft.com/office/drawing/2014/main" val="388304527"/>
                    </a:ext>
                  </a:extLst>
                </a:gridCol>
                <a:gridCol w="2298555">
                  <a:extLst>
                    <a:ext uri="{9D8B030D-6E8A-4147-A177-3AD203B41FA5}">
                      <a16:colId xmlns:a16="http://schemas.microsoft.com/office/drawing/2014/main" val="1852776079"/>
                    </a:ext>
                  </a:extLst>
                </a:gridCol>
                <a:gridCol w="295854">
                  <a:extLst>
                    <a:ext uri="{9D8B030D-6E8A-4147-A177-3AD203B41FA5}">
                      <a16:colId xmlns:a16="http://schemas.microsoft.com/office/drawing/2014/main" val="2563959897"/>
                    </a:ext>
                  </a:extLst>
                </a:gridCol>
                <a:gridCol w="2363726">
                  <a:extLst>
                    <a:ext uri="{9D8B030D-6E8A-4147-A177-3AD203B41FA5}">
                      <a16:colId xmlns:a16="http://schemas.microsoft.com/office/drawing/2014/main" val="1199913480"/>
                    </a:ext>
                  </a:extLst>
                </a:gridCol>
                <a:gridCol w="2512687">
                  <a:extLst>
                    <a:ext uri="{9D8B030D-6E8A-4147-A177-3AD203B41FA5}">
                      <a16:colId xmlns:a16="http://schemas.microsoft.com/office/drawing/2014/main" val="2065012782"/>
                    </a:ext>
                  </a:extLst>
                </a:gridCol>
              </a:tblGrid>
              <a:tr h="20035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ování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8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ace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686146"/>
                  </a:ext>
                </a:extLst>
              </a:tr>
              <a:tr h="20261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IP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526879"/>
                  </a:ext>
                </a:extLst>
              </a:tr>
              <a:tr h="44018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4 254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7 279 741]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49 126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17 093 973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4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9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268495"/>
                  </a:ext>
                </a:extLst>
              </a:tr>
              <a:tr h="440183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mulativní počet provedených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ů za 7 d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5" gridSpan="2">
                  <a:txBody>
                    <a:bodyPr/>
                    <a:lstStyle/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ovaní tvoří 4,4 % z celkem pozitivních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ěžký průběh onemocnění a na JIP je hlášeno u 114 osob, 45x UPV, 4x ECMO.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15 nově přijatých pacientů. Průměrný věk nově přijatých pacientů činí 58 let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ěžký stav je hlášen u 1 nově přijatých pacientů, stav střední je hlášen 6x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více příjmů bylo v následujících krajích: HMP (3), JHC (2), MSK (2)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8161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120237"/>
                  </a:ext>
                </a:extLst>
              </a:tr>
              <a:tr h="22655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25 372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096140"/>
                  </a:ext>
                </a:extLst>
              </a:tr>
              <a:tr h="22655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131 477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1106505"/>
                  </a:ext>
                </a:extLst>
              </a:tr>
              <a:tr h="216117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rovedených testů za 7 dní/100 tis. ob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0435224"/>
                  </a:ext>
                </a:extLst>
              </a:tr>
              <a:tr h="22655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172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84933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74263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– kapacity IP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B63C737-6341-4079-ABE9-1CAEE9C95CC3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EBFADCD-FA99-4A8C-A20F-C7E8A0A420AC}"/>
              </a:ext>
            </a:extLst>
          </p:cNvPr>
          <p:cNvSpPr/>
          <p:nvPr/>
        </p:nvSpPr>
        <p:spPr>
          <a:xfrm>
            <a:off x="127187" y="976388"/>
            <a:ext cx="9885238" cy="5467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ostupné kapacity dle dispečinku 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V - volná kapacita (665 lůžek), tj. 30,2 % celku. ECMO - volná kapacita (61 přístrojů), tj. 68,5 % celku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IP lůžka (HFNO+UPV): volná kapacita COVID+ 936 lůžek (+ volná kapacita pro COVID- pacienty 686 lůžek)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 err="1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and</a:t>
            </a: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lůžka s O2: volná kapacita COVID+ 1 605 lůžek (+ volná kapacita pro COVID- pacienty 4981 lůžek).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endParaRPr lang="cs-CZ" sz="1200" b="1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50000"/>
              </a:lnSpc>
            </a:pPr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díl (%) celkové kapacity JIP obsazené pacienty s COVID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ČR: 114 pacientů na JIP - 3,0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lavní město Praha: 12 pacientů na JIP - 1,4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ředočeský kraj: 6 pacientů na JIP - 2,2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ihočeský kraj: 3 pacientů na JIP - 1,9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lzeňský kraj: 6 pacientů na JIP - 2,5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rlovarský kraj: pacientů na JIP -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Ústecký kraj: 11 pacientů na JIP - 3,9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berecký kraj: 6 pacientů na JIP - 5,2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álovéhradecký kraj: 2 pacientů na JIP - 0,8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ardubický kraj: 4 pacientů na JIP - 3,1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raj Vysočina: 2 pacientů na JIP - 1,7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ihomoravský kraj: 23 pacientů na JIP - 5,6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lomoucký kraj: 8 pacientů na JIP - 4,0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línský kraj: 13 pacientů na JIP - 7,7 % celkové kapacity JIP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C00000"/>
              </a:buClr>
              <a:buSzPts val="1200"/>
              <a:buFont typeface="Wingdings" panose="05000000000000000000" pitchFamily="2" charset="2"/>
              <a:buChar char=""/>
            </a:pPr>
            <a:r>
              <a:rPr lang="cs-CZ" sz="11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oravskoslezský kraj: 18 pacientů na JIP - 3,4 % celkové kapacity JIP 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423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E3989DF-91DB-4ABC-8CE4-E07F5D79F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871" y="1"/>
            <a:ext cx="9484186" cy="896492"/>
          </a:xfrm>
        </p:spPr>
        <p:txBody>
          <a:bodyPr/>
          <a:lstStyle/>
          <a:p>
            <a:r>
              <a:rPr lang="cs-CZ" dirty="0"/>
              <a:t>Přehled provedených očková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66EABD77-D89E-4A43-9AB6-35F2DE9E4F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5498" y="1032024"/>
            <a:ext cx="8900931" cy="5352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887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261A0F5-6171-453F-B562-4FE8DF505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59832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ěmec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1 9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buFont typeface="Calibri" panose="020F0502020204030204" pitchFamily="34" charset="0"/>
                        <a:buChar char="-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utace B.1.617 (tzv. indická) se dle Institutu Roberta Kocha v KT 19 (10. – 16. 5.) v SRN dále nerozšiřovala. Naopak se její podíl mírně snížil na 2,2%. Dominantní je nadále mutace B.1.1.1.7 s cca 90 %. Ostatní mutace jsou vzácné.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buFont typeface="Calibri" panose="020F0502020204030204" pitchFamily="34" charset="0"/>
                        <a:buChar char="-"/>
                      </a:pP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čkování: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 27. 5. včetně bylo aplikováno 48.385.907 vakcín</a:t>
                      </a: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+994.155 oproti předešlému dni)</a:t>
                      </a: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 1. dávkou bylo naočkováno 34 711 424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+393.480) osob</a:t>
                      </a: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2. dávkou 13.674.483 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+600.675)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buFont typeface="Calibri" panose="020F0502020204030204" pitchFamily="34" charset="0"/>
                        <a:buChar char="-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. 5. se konal tzv. „očkovací summit“ spolkové vlády s ministerskými předsedy spolkových zemí. Výsledkem je především rozhodnutí, že </a:t>
                      </a: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 7. 6. se mohou očkovat děti 12 až 15 let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ale nebudou mít žádnou přednost. Rozhodnou dětští lékaři po konzultaci s rodiči. Očkování nebude povinné a nebude ani podmínkou pro školní docházku! Spolková vláda zopakovala závazek do konce léta každému občanovi od 12 let umožnit očkování.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buFont typeface="Calibri" panose="020F0502020204030204" pitchFamily="34" charset="0"/>
                        <a:buChar char="-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 přísných podmínek se v Hamburku od 28. 5. znovu otevírají divadla a koncertní sály. Návštěvníci musí ukázat negativní </a:t>
                      </a:r>
                      <a:r>
                        <a:rPr lang="cs-CZ" sz="10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oronatest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 očkovací průkaz nebo doklad o uzdravení. Roušky jsou vyžadovány.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cs-CZ" sz="10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Šlesvicko</a:t>
                      </a: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- Holštýnsko plánuje další uvolnění. Od pondělí 31. 5. se bude moci uvnitř znovu setkat až 10 lidí. Počet domácností není omezen. Otevřena budou také sportovní zařízení (i posilovny).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0" y="6468392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578386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D35E54-C384-44EB-ACCD-3C5CB201A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- spolkové země - Německo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186D53B-7AA1-4DAF-940C-E4156A492207}"/>
              </a:ext>
            </a:extLst>
          </p:cNvPr>
          <p:cNvSpPr/>
          <p:nvPr/>
        </p:nvSpPr>
        <p:spPr>
          <a:xfrm>
            <a:off x="332819" y="6454527"/>
            <a:ext cx="1204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RK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5143D5A-E598-4B97-AC3F-48F398C62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9266" y="1847629"/>
            <a:ext cx="1657581" cy="31627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2E420327-FAE2-49DC-8924-7E8298DFD6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4999" y="1036275"/>
            <a:ext cx="4467778" cy="5132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081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51" name="TextovéPole 1">
            <a:extLst>
              <a:ext uri="{FF2B5EF4-FFF2-40B4-BE49-F238E27FC236}">
                <a16:creationId xmlns:a16="http://schemas.microsoft.com/office/drawing/2014/main" id="{FC71C6AE-54AD-4D39-98EC-1C30B3570BA2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39578A86-C7E9-433D-B696-F37FC8EB634F}"/>
              </a:ext>
            </a:extLst>
          </p:cNvPr>
          <p:cNvSpPr/>
          <p:nvPr/>
        </p:nvSpPr>
        <p:spPr>
          <a:xfrm>
            <a:off x="332819" y="2209342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3C6F7BA-DFC1-41FA-BAE5-A84AA5F78C3D}"/>
              </a:ext>
            </a:extLst>
          </p:cNvPr>
          <p:cNvSpPr/>
          <p:nvPr/>
        </p:nvSpPr>
        <p:spPr>
          <a:xfrm>
            <a:off x="5903053" y="4780364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B47BD82-2C8B-4AFA-AEFB-B262486FC4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2059" y="1994030"/>
            <a:ext cx="1657581" cy="3162741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D3AD1A29-0FAC-4695-84A7-54B56CE50B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2147" y="954182"/>
            <a:ext cx="7880637" cy="5242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034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13" y="14148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22" name="TextovéPole 1">
            <a:extLst>
              <a:ext uri="{FF2B5EF4-FFF2-40B4-BE49-F238E27FC236}">
                <a16:creationId xmlns:a16="http://schemas.microsoft.com/office/drawing/2014/main" id="{C3AAD9DB-4093-43EF-80AD-47820CE6AC6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741FFED-F2ED-4C3D-8D87-7AEB5683E317}"/>
              </a:ext>
            </a:extLst>
          </p:cNvPr>
          <p:cNvSpPr/>
          <p:nvPr/>
        </p:nvSpPr>
        <p:spPr>
          <a:xfrm>
            <a:off x="285334" y="3453771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0C737501-B265-4102-9183-F67B693738F9}"/>
              </a:ext>
            </a:extLst>
          </p:cNvPr>
          <p:cNvSpPr/>
          <p:nvPr/>
        </p:nvSpPr>
        <p:spPr>
          <a:xfrm>
            <a:off x="5522232" y="2163520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F902408-1A49-49BB-8ABA-ED9621601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059" y="2195565"/>
            <a:ext cx="1657581" cy="31627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F08D88D-78C6-45B1-8D05-08A4B80D26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328" y="1074828"/>
            <a:ext cx="7661807" cy="535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451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08AF35-8598-42EB-86B1-7D909344A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BA5C879-A9B9-412B-8F76-A1404029E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3238768"/>
              </p:ext>
            </p:extLst>
          </p:nvPr>
        </p:nvGraphicFramePr>
        <p:xfrm>
          <a:off x="332819" y="1035050"/>
          <a:ext cx="9885237" cy="50729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437">
                  <a:extLst>
                    <a:ext uri="{9D8B030D-6E8A-4147-A177-3AD203B41FA5}">
                      <a16:colId xmlns:a16="http://schemas.microsoft.com/office/drawing/2014/main" val="3845647527"/>
                    </a:ext>
                  </a:extLst>
                </a:gridCol>
                <a:gridCol w="1838742">
                  <a:extLst>
                    <a:ext uri="{9D8B030D-6E8A-4147-A177-3AD203B41FA5}">
                      <a16:colId xmlns:a16="http://schemas.microsoft.com/office/drawing/2014/main" val="3769766953"/>
                    </a:ext>
                  </a:extLst>
                </a:gridCol>
                <a:gridCol w="6858058">
                  <a:extLst>
                    <a:ext uri="{9D8B030D-6E8A-4147-A177-3AD203B41FA5}">
                      <a16:colId xmlns:a16="http://schemas.microsoft.com/office/drawing/2014/main" val="682070041"/>
                    </a:ext>
                  </a:extLst>
                </a:gridCol>
              </a:tblGrid>
              <a:tr h="83035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386469"/>
                  </a:ext>
                </a:extLst>
              </a:tr>
              <a:tr h="4154391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kou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229</a:t>
                      </a:r>
                    </a:p>
                    <a:p>
                      <a:pPr algn="l"/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uvolnění od 10. 6.: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vírací hodina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v pohostinství a pro veřejné akce se posune z 22 hod.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 24 hod. 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hostinství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ude moci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 stolu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edět: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ž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8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spělých osob ve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nitřních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storech, 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ž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dospělých osob ve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enkovních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storech (v obou případech se do kvóty nepočítají děti)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nimální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stup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e snižuje ze 2 na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1 metr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stup bude nadále podmíněn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avidlem 3G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očkovaný, uzdravený, otestovaný)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 oblasti 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ulturních, společenských a sportovních akcí: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adále platí omezení max. 1 500 návštěvníků ve vnitřních prostorech a max. 3 000 ve venkovních prostorech,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ax. obsazenost se zvyšuje z 50% na 75% kapacity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olnočasová a sportovní zařízení, obchody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1085850" lvl="2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inimální plocha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na návštěvníka/zákazníka se snižuje ze 20m2 na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10m2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6286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o hudební zkoušky (pěvecké sbory atp.) za předpokladu 3G přestávají omezení platit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cs-CZ" sz="12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alší rozvolnění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 </a:t>
                      </a:r>
                      <a:r>
                        <a:rPr lang="cs-CZ" sz="1200" b="1" u="sng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července</a:t>
                      </a:r>
                      <a:r>
                        <a:rPr lang="cs-CZ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cs-CZ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podrobnosti budou v závislosti na vývoji situace předmětem dalších jednání). Mělo by dojít k uvolnění podmínek pro oslavy či svatby. Povinnost předkládat negativní test by se měla týkat až dětí od 12 let (namísto současných 10). U akcí venku i uvnitř má být možné plně využít kapacitu míst k sezení. V pohostinství mají odpadnout všechna omezení, otevřít mají i diskotéky a noční kluby.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/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83694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D28FBF7-B8BB-46A1-92F6-08E7BA46521C}"/>
              </a:ext>
            </a:extLst>
          </p:cNvPr>
          <p:cNvSpPr/>
          <p:nvPr/>
        </p:nvSpPr>
        <p:spPr>
          <a:xfrm>
            <a:off x="249681" y="6488667"/>
            <a:ext cx="30024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Zdroj dat: AGES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33869941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B0971C-AA46-46DB-9DD2-F1D6925DA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- spolkové země - Rakouskou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E16708B-F6CE-4F4D-9AC1-586FBAADEC4A}"/>
              </a:ext>
            </a:extLst>
          </p:cNvPr>
          <p:cNvSpPr/>
          <p:nvPr/>
        </p:nvSpPr>
        <p:spPr>
          <a:xfrm>
            <a:off x="332819" y="6454527"/>
            <a:ext cx="136999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AGES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1976088-EC0E-461C-9ABB-A6F1B64FD7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67809" y="2036048"/>
            <a:ext cx="1657581" cy="3162741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61C0F11-6167-461A-BB05-0955AC1D20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814" y="1111892"/>
            <a:ext cx="8232860" cy="501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517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Rakouskem</a:t>
            </a:r>
            <a:endParaRPr lang="cs-CZ" dirty="0"/>
          </a:p>
        </p:txBody>
      </p:sp>
      <p:sp>
        <p:nvSpPr>
          <p:cNvPr id="161" name="TextovéPole 1">
            <a:extLst>
              <a:ext uri="{FF2B5EF4-FFF2-40B4-BE49-F238E27FC236}">
                <a16:creationId xmlns:a16="http://schemas.microsoft.com/office/drawing/2014/main" id="{8DF44463-D79F-49B2-863B-84A10C645A17}"/>
              </a:ext>
            </a:extLst>
          </p:cNvPr>
          <p:cNvSpPr txBox="1"/>
          <p:nvPr/>
        </p:nvSpPr>
        <p:spPr>
          <a:xfrm>
            <a:off x="186608" y="6500082"/>
            <a:ext cx="2275237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AGES/EMS, ÚZIS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20DBDAF-0477-4C8B-A529-3E40AFE9E897}"/>
              </a:ext>
            </a:extLst>
          </p:cNvPr>
          <p:cNvSpPr txBox="1"/>
          <p:nvPr/>
        </p:nvSpPr>
        <p:spPr>
          <a:xfrm>
            <a:off x="3833768" y="4874004"/>
            <a:ext cx="2105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Republik Österreich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B987F0-8B46-419A-8BB4-4A1373EA40EF}"/>
              </a:ext>
            </a:extLst>
          </p:cNvPr>
          <p:cNvSpPr/>
          <p:nvPr/>
        </p:nvSpPr>
        <p:spPr>
          <a:xfrm>
            <a:off x="5690970" y="1398756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6B96034-2DB7-41C7-8522-8B012AE72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188" y="2173246"/>
            <a:ext cx="1657581" cy="316274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6947F8BF-29DA-46A9-AC7C-333419B501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2910" y="1014931"/>
            <a:ext cx="8167456" cy="561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21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6509E5-F1D5-4F59-9618-632431211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>
                <a:latin typeface="Calibri" panose="020F0502020204030204" pitchFamily="34" charset="0"/>
                <a:cs typeface="Calibri" panose="020F0502020204030204" pitchFamily="34" charset="0"/>
              </a:rPr>
              <a:t>Horní Rakousy – počet případů za 7 dní na 100 tisíc obyvatel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8C8D6B9-4F7A-4883-BC32-97F61E038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145" y="1847629"/>
            <a:ext cx="1657581" cy="31627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BC24850-DA22-4B0D-8E26-A75DCC7C5A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2250" y="1159097"/>
            <a:ext cx="7367500" cy="506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808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4580FDC-F73A-483C-9301-96D6004ED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lkové shrnutí počtu případů za předchozí den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95F89CDE-EC79-4DD5-AE07-BDB6B898700E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C237E83-9D50-4D47-98A5-18A4952ED1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8173" y="1103640"/>
            <a:ext cx="8314530" cy="5007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333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629191-708F-4B6C-8E0F-8B974C3C0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>
                <a:latin typeface="Calibri" panose="020F0502020204030204" pitchFamily="34" charset="0"/>
                <a:cs typeface="Calibri" panose="020F0502020204030204" pitchFamily="34" charset="0"/>
              </a:rPr>
              <a:t>Dolní Rakousy  – počet případů za 7 dní na 100 tisíc obyvatel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10B4E99-AD6D-457B-BADB-5BCCD4257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0715" y="2014547"/>
            <a:ext cx="1657581" cy="3162741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DC65F178-4B47-469A-9115-A106B01D06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0033" y="968627"/>
            <a:ext cx="6613766" cy="525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6221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sterstwo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wia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ituační zpráva 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C2087EA1-7394-4B93-BC6D-1707D37EA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8740049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333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cs-CZ" sz="10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d 4. 6. umožnění konání koncertů a cirkusových představení v otevřených prostorách s max. obsazením 250 osob a s omezením 1os./15m2.</a:t>
                      </a:r>
                      <a:endParaRPr lang="cs-CZ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18821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871B0A-9079-43C3-8990-CFBC2EFF6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– Polská vojvodství 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B7983F3-E2ED-4BA3-B5CD-D3CBDC158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9364" y="1964397"/>
            <a:ext cx="1658256" cy="3164098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CD1CDF9F-BFF7-4A3C-8127-A3210359C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5826" y="1045027"/>
            <a:ext cx="5839223" cy="526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3613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0B7689-7104-4E07-956B-D2FB38D04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– česko-polské příhranič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ED8D31B-82E5-48A7-A328-9638383542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3943" y="896493"/>
            <a:ext cx="7300364" cy="549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9804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0B7689-7104-4E07-956B-D2FB38D04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– Slezské vojvodstv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0E49CA1-DD2B-44EC-9AC8-BE8694B4D2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3223" y="1097802"/>
            <a:ext cx="5905553" cy="5150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0164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korona.gov.sk, situační zpráva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4A1D42B-4A17-47C2-BD8E-06A9DEDF4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730615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oven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buFont typeface="Calibri" panose="020F0502020204030204" pitchFamily="34" charset="0"/>
                        <a:buChar char="-"/>
                      </a:pPr>
                      <a:r>
                        <a:rPr lang="cs-CZ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láda rozhodla 26. 5. umožnit očkování vakcínou Sputnik V od 7. 6. v počtu do 200 000 dávek</a:t>
                      </a:r>
                      <a:r>
                        <a:rPr lang="cs-CZ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cs-CZ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Bef>
                          <a:spcPts val="10"/>
                        </a:spcBef>
                        <a:spcAft>
                          <a:spcPts val="10"/>
                        </a:spcAft>
                        <a:buFont typeface="Calibri" panose="020F0502020204030204" pitchFamily="34" charset="0"/>
                        <a:buChar char="-"/>
                      </a:pPr>
                      <a:r>
                        <a:rPr lang="cs-CZ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lovensko zřídilo Cestovatelský semafor schvalovaný vládou:</a:t>
                      </a:r>
                      <a:endParaRPr lang="cs-CZ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just">
                        <a:lnSpc>
                          <a:spcPct val="107000"/>
                        </a:lnSpc>
                        <a:spcBef>
                          <a:spcPts val="10"/>
                        </a:spcBef>
                        <a:spcAft>
                          <a:spcPts val="1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cs-CZ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znam zelených států – stát EU anebo stát mimo EU s vysokou mírou proočkovanosti a příznivou epidemiologickou situací</a:t>
                      </a:r>
                      <a:endParaRPr lang="cs-CZ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just">
                        <a:lnSpc>
                          <a:spcPct val="107000"/>
                        </a:lnSpc>
                        <a:spcBef>
                          <a:spcPts val="10"/>
                        </a:spcBef>
                        <a:spcAft>
                          <a:spcPts val="1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cs-CZ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znam červených států – stát mimo EU s nepříznivou epidemiologickou situací </a:t>
                      </a:r>
                      <a:endParaRPr lang="cs-CZ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cs-CZ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eznam černých států – stát EU anebo stát mimo EU, který není uvedený v Zeleném ani v Červeném systému Cestovatelského semaforu SR. </a:t>
                      </a:r>
                      <a:endParaRPr lang="cs-CZ" sz="20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0292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vývoj 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B109E666-7727-497D-8191-869E2B75F785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covid-19.nczisk.sk/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9A73633-4BB9-4933-AF00-623A7DC061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191" y="1016435"/>
            <a:ext cx="9378493" cy="5363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0537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13CD70E4-3545-44B7-931A-E69D2DE2EEAA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korona.gov.sk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A9B463A-0BF8-4B0B-8DD8-43DBB878E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2195" y="1028279"/>
            <a:ext cx="5166486" cy="534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004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93F3F8-6C3F-4CE0-8D3F-9C4CB64A5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– kraje - Slovensko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E8640AE-AC2C-4FB2-B0C7-FD1E549B1C38}"/>
              </a:ext>
            </a:extLst>
          </p:cNvPr>
          <p:cNvSpPr/>
          <p:nvPr/>
        </p:nvSpPr>
        <p:spPr>
          <a:xfrm>
            <a:off x="332819" y="6454527"/>
            <a:ext cx="1971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korona.gov.sk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604F3D71-0217-4C89-99F9-94FDBF4C51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642" y="1060099"/>
            <a:ext cx="9321592" cy="523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64954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93F3F8-6C3F-4CE0-8D3F-9C4CB64A5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Situace v příhraničí se Slovenskem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E8640AE-AC2C-4FB2-B0C7-FD1E549B1C38}"/>
              </a:ext>
            </a:extLst>
          </p:cNvPr>
          <p:cNvSpPr/>
          <p:nvPr/>
        </p:nvSpPr>
        <p:spPr>
          <a:xfrm>
            <a:off x="332819" y="6454527"/>
            <a:ext cx="1971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korona.gov.sk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84FD930-EDC5-470A-9BEE-48B7E5A5CBC0}"/>
              </a:ext>
            </a:extLst>
          </p:cNvPr>
          <p:cNvSpPr/>
          <p:nvPr/>
        </p:nvSpPr>
        <p:spPr>
          <a:xfrm>
            <a:off x="7120622" y="4991488"/>
            <a:ext cx="2879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Slovenská Republika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B2FB66B-C8E8-44FB-8CB1-394DF7848DB8}"/>
              </a:ext>
            </a:extLst>
          </p:cNvPr>
          <p:cNvSpPr/>
          <p:nvPr/>
        </p:nvSpPr>
        <p:spPr>
          <a:xfrm>
            <a:off x="2597791" y="2171388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A97D157D-A379-40DA-8F09-71526F151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3757" y="1828747"/>
            <a:ext cx="1657581" cy="31627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032293C-EA02-4FFC-99A9-58073C0181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8804" y="1043039"/>
            <a:ext cx="8556110" cy="526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614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9A36EC-53DE-4BE7-AC9D-BD81ED6282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1800" dirty="0"/>
              <a:t>EPIDEMIOLOGICKÁ ZÁTĚŽ DLE VĚKOVÝCH KATEGORIÍ OBYVATEL:</a:t>
            </a:r>
            <a:br>
              <a:rPr lang="cs-CZ" sz="1800" dirty="0"/>
            </a:br>
            <a:r>
              <a:rPr lang="cs-CZ" sz="1800" dirty="0"/>
              <a:t>7denní počty nových případů na 100tis. obyv. dané věkové třídy (týdenní změna v %)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3ECFC294-840C-49E3-80B1-314A3BA8471A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9D350831-B15C-4786-A522-5F1797D0D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4526604"/>
              </p:ext>
            </p:extLst>
          </p:nvPr>
        </p:nvGraphicFramePr>
        <p:xfrm>
          <a:off x="577708" y="1528683"/>
          <a:ext cx="9395460" cy="4339209"/>
        </p:xfrm>
        <a:graphic>
          <a:graphicData uri="http://schemas.openxmlformats.org/drawingml/2006/table">
            <a:tbl>
              <a:tblPr/>
              <a:tblGrid>
                <a:gridCol w="1172210">
                  <a:extLst>
                    <a:ext uri="{9D8B030D-6E8A-4147-A177-3AD203B41FA5}">
                      <a16:colId xmlns:a16="http://schemas.microsoft.com/office/drawing/2014/main" val="2927711953"/>
                    </a:ext>
                  </a:extLst>
                </a:gridCol>
                <a:gridCol w="913130">
                  <a:extLst>
                    <a:ext uri="{9D8B030D-6E8A-4147-A177-3AD203B41FA5}">
                      <a16:colId xmlns:a16="http://schemas.microsoft.com/office/drawing/2014/main" val="2018857739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315874685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873738044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633394388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3635908972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3741743911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3418937603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1520102704"/>
                    </a:ext>
                  </a:extLst>
                </a:gridCol>
                <a:gridCol w="913765">
                  <a:extLst>
                    <a:ext uri="{9D8B030D-6E8A-4147-A177-3AD203B41FA5}">
                      <a16:colId xmlns:a16="http://schemas.microsoft.com/office/drawing/2014/main" val="230114008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– 2 rok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– 5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– 11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 – 15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 – 19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– 29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– 49 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– 64let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+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305420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3 (-37.5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5 (-20.6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0 (-58.6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6 (-18.8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4 (-22.8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7 (-33.7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5 (-31.6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4 (-53.4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7 (-37.0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598966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8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5 (-44.0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6 (30.1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7 (-36.0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1 (-41.4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1 (-47.9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0 (-26.3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7 (-57.8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0 (-25.9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679674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0 (14.2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3 (-12.6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6 (-54.6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1 (49.7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1 (32.9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6 (-26.55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3 (-32.2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5 (-55.1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9 (-46.7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49702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 (10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 (-49.8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0 (-45.2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1 (-56.4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1 (98.0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9 (53.5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1 (-11.1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8 (-53.0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2 (-5.7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46598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2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2 (-5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 (-52.1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2 (-30.6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 (-40.9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 (-87.8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794080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8 (-37.5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3 (-38.9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4 (-20.7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7 (-8.7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3 (-35.8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0 (-3.2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0 (-24.1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8 (-39.5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3 (-52.3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008309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6 (-4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.4 (-26.2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9 (-53.8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0 (-16.6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6 (28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9 (-30.65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0 (-47.3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0 (-68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5 (-7.4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275721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0 (-5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0 (-66.67 %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4 (-83.4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4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0 (-63.8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8 (-44.2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5 (-20.45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6 (-20.4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6822028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0 (-75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 (-40.4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8 (-24.4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4 (-10.8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5 (-39.2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7 (-47.5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9 (-67.2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9 (-33.1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8705109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 (-63.6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0 (18.5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7 (7.2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8 (-6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3 (-34.1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1 (-31.5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2 (-51.9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3 (-62.7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8166754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6 (-22.1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6 (-58.1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0 (-30.7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4 (-51.5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3 (-5.1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2 (-43.2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6 (-48.8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8 (-43.3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5 (-54.17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8848610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6 (66.2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6 (-33.3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3 (-25.8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3 (-26.1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0 (0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9 (-46.0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2 (-30.3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8 (-50.2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6 (-38.1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4980491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.4 (-49.9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1 (-64.3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.3 (65.2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0 (-15.0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7 (-23.0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7 (-51.5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7 (-5.9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5 (-51.39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.5 (-55.8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139662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9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4 (-61.1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9 (-46.4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9 (-16.9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3 (-41.6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8 (-36.23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0 (-50.6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2 (-44.2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1 (-34.7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1 (-10.86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1413391"/>
                  </a:ext>
                </a:extLst>
              </a:tr>
              <a:tr h="2755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 (-31.75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6 (-45.00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5 (-27.1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2 (-22.78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8 (-20.4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8 (-36.84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1 (-33.72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7 (-47.71 %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0 (-39.16 %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3616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01280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FD897D-2DFC-4E11-BB87-B413729E4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denních počtů případů a </a:t>
            </a:r>
            <a:r>
              <a:rPr lang="en-US" dirty="0"/>
              <a:t>7</a:t>
            </a:r>
            <a:r>
              <a:rPr lang="cs-CZ" dirty="0"/>
              <a:t>denního klouzavého průměru 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0C3DF020-98BE-4C5E-8302-44771251DF0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E4DD743-31C8-4128-A3F4-D5C908FCDE8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30" y="1038272"/>
            <a:ext cx="9187815" cy="53200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24864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58E523-B5DC-46B9-B0A4-7F78277BD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71" y="1"/>
            <a:ext cx="9424385" cy="896492"/>
          </a:xfrm>
        </p:spPr>
        <p:txBody>
          <a:bodyPr/>
          <a:lstStyle/>
          <a:p>
            <a:r>
              <a:rPr lang="cs-CZ" dirty="0"/>
              <a:t>Průměrný počet případů 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28AFE2EB-6F4B-4DAB-BAD9-8A015FDD7C65}"/>
              </a:ext>
            </a:extLst>
          </p:cNvPr>
          <p:cNvSpPr/>
          <p:nvPr/>
        </p:nvSpPr>
        <p:spPr>
          <a:xfrm>
            <a:off x="10081974" y="3328332"/>
            <a:ext cx="1963498" cy="1439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n.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uální 7denní klouzavý průměr má hodnotu 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b="1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56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C9CDF32C-0770-4CF2-ACCE-03F23EE06CE5}"/>
              </a:ext>
            </a:extLst>
          </p:cNvPr>
          <p:cNvSpPr/>
          <p:nvPr/>
        </p:nvSpPr>
        <p:spPr>
          <a:xfrm>
            <a:off x="332819" y="6454527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C159A65C-51EB-43D9-8C16-E5CD2CFC42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671" y="1120316"/>
            <a:ext cx="8532664" cy="5202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0398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5A1B8E-0A69-4F28-8982-530F79A4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319" y="0"/>
            <a:ext cx="9152656" cy="896492"/>
          </a:xfrm>
        </p:spPr>
        <p:txBody>
          <a:bodyPr/>
          <a:lstStyle/>
          <a:p>
            <a:r>
              <a:rPr lang="cs-CZ" sz="2000" dirty="0"/>
              <a:t>Vývoj 7denní incidence za posledních 30 dnů</a:t>
            </a:r>
            <a:br>
              <a:rPr lang="cs-CZ" sz="2000" dirty="0"/>
            </a:br>
            <a:r>
              <a:rPr lang="cs-CZ" sz="2000" dirty="0"/>
              <a:t>(počet případů hlášených za 7 dní přepočtených na 100 tisíc obyvatel)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7B113C0-95BB-48A0-8D4C-5342BB749E84}"/>
              </a:ext>
            </a:extLst>
          </p:cNvPr>
          <p:cNvSpPr/>
          <p:nvPr/>
        </p:nvSpPr>
        <p:spPr>
          <a:xfrm>
            <a:off x="332819" y="6454527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A4A3E97D-9671-46FD-A71F-8B80F333BE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073" y="1183112"/>
            <a:ext cx="8109754" cy="4984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467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 - kraje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E63ADC5-DAAE-40DE-BA90-897252D56C9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5352546-C8EC-49B9-A172-BEC0B72BF7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6915" y="990600"/>
            <a:ext cx="8639872" cy="531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77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5D959E21-10EE-47B8-BB38-C547A04D249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CEA123B-7972-4BCE-9FF2-FCC3A15B6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028" y="1092620"/>
            <a:ext cx="8779671" cy="5115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874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722[[fn=Zasedací síň]]</Template>
  <TotalTime>23296</TotalTime>
  <Words>2816</Words>
  <Application>Microsoft Office PowerPoint</Application>
  <PresentationFormat>Širokoúhlá obrazovka</PresentationFormat>
  <Paragraphs>470</Paragraphs>
  <Slides>39</Slides>
  <Notes>8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9</vt:i4>
      </vt:variant>
    </vt:vector>
  </HeadingPairs>
  <TitlesOfParts>
    <vt:vector size="46" baseType="lpstr">
      <vt:lpstr>Arial</vt:lpstr>
      <vt:lpstr>Calibri</vt:lpstr>
      <vt:lpstr>Segoe UI</vt:lpstr>
      <vt:lpstr>Times New Roman</vt:lpstr>
      <vt:lpstr>univers_light</vt:lpstr>
      <vt:lpstr>Wingdings</vt:lpstr>
      <vt:lpstr>Motiv Office</vt:lpstr>
      <vt:lpstr>Analytický briefing EPI situace COVID-19</vt:lpstr>
      <vt:lpstr>Aktuální situace v ČR k 30. 5. 2021 (23:59)</vt:lpstr>
      <vt:lpstr>Celkové shrnutí počtu případů za předchozí den</vt:lpstr>
      <vt:lpstr>EPIDEMIOLOGICKÁ ZÁTĚŽ DLE VĚKOVÝCH KATEGORIÍ OBYVATEL: 7denní počty nových případů na 100tis. obyv. dané věkové třídy (týdenní změna v %)</vt:lpstr>
      <vt:lpstr>Vývoj denních počtů případů a 7denního klouzavého průměru </vt:lpstr>
      <vt:lpstr>Průměrný počet případů </vt:lpstr>
      <vt:lpstr>Vývoj 7denní incidence za posledních 30 dnů (počet případů hlášených za 7 dní přepočtených na 100 tisíc obyvatel)</vt:lpstr>
      <vt:lpstr>Vývoj 7denní incidence  (počet případů za 7 dní v přepočtu na 100 tisíc obyvatel) - kraje</vt:lpstr>
      <vt:lpstr>Vývoj 7denní incidence  (počet případů za 7 dní v přepočtu na 100 tisíc obyvatel)</vt:lpstr>
      <vt:lpstr>Srovnání počtů případů v jednotlivých dnech týdne za poslední 3 týdny</vt:lpstr>
      <vt:lpstr>VÝVOJ 7DENNÍHO KLOUZAVÉHO PRŮMĚRU</vt:lpstr>
      <vt:lpstr>Prezentace aplikace PowerPoint</vt:lpstr>
      <vt:lpstr>Týdenní změny (nárůst/pokles) </vt:lpstr>
      <vt:lpstr>Přehled situace v jednotlivých okresech (incidence za 7 dní) </vt:lpstr>
      <vt:lpstr>Počet testů PCR a pozitivních případů za posledních 30 dní</vt:lpstr>
      <vt:lpstr>Počet testů PCR a pozitivních případů za posledních 30 dní</vt:lpstr>
      <vt:lpstr>Počet Ag testů a pozitivních případů za posledních 30 dní</vt:lpstr>
      <vt:lpstr>Vývoj počtu celkově hospitalizovaných/JIP v čase</vt:lpstr>
      <vt:lpstr>Stav hospitalizací - souhrn</vt:lpstr>
      <vt:lpstr>Stav hospitalizací – kapacity IP</vt:lpstr>
      <vt:lpstr>Přehled provedených očkování</vt:lpstr>
      <vt:lpstr>Státy přímo sousedící s ČR – popis situace</vt:lpstr>
      <vt:lpstr>7denní incidence - spolkové země - Německo</vt:lpstr>
      <vt:lpstr>Situace v příhraničí s Německem</vt:lpstr>
      <vt:lpstr>Situace v příhraničí s Německem</vt:lpstr>
      <vt:lpstr>Státy přímo sousedící s ČR – popis situace</vt:lpstr>
      <vt:lpstr>7denní incidence - spolkové země - Rakouskou</vt:lpstr>
      <vt:lpstr>Situace v příhraničí s Rakouskem</vt:lpstr>
      <vt:lpstr>Horní Rakousy – počet případů za 7 dní na 100 tisíc obyvatel</vt:lpstr>
      <vt:lpstr>Dolní Rakousy  – počet případů za 7 dní na 100 tisíc obyvatel</vt:lpstr>
      <vt:lpstr>Státy přímo sousedící s ČR – popis situace</vt:lpstr>
      <vt:lpstr>7denní incidence – Polská vojvodství </vt:lpstr>
      <vt:lpstr>7denní incidence – česko-polské příhraničí</vt:lpstr>
      <vt:lpstr>7denní incidence – Slezské vojvodství</vt:lpstr>
      <vt:lpstr>Státy přímo sousedící s ČR – popis situace</vt:lpstr>
      <vt:lpstr>7denní vývoj situace na Slovensku</vt:lpstr>
      <vt:lpstr>Situace na Slovensku</vt:lpstr>
      <vt:lpstr>7denní incidence – kraje - Slovensko</vt:lpstr>
      <vt:lpstr>Situace v příhraničí se Slovensk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Zdeněk</cp:lastModifiedBy>
  <cp:revision>1825</cp:revision>
  <dcterms:created xsi:type="dcterms:W3CDTF">2020-07-15T10:33:32Z</dcterms:created>
  <dcterms:modified xsi:type="dcterms:W3CDTF">2021-05-31T13:37:19Z</dcterms:modified>
</cp:coreProperties>
</file>